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7"/>
  </p:notesMasterIdLst>
  <p:handoutMasterIdLst>
    <p:handoutMasterId r:id="rId8"/>
  </p:handoutMasterIdLst>
  <p:sldIdLst>
    <p:sldId id="1798" r:id="rId5"/>
    <p:sldId id="1797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F7DFE62-FF9C-16FA-016D-4AB0404BBF61}" name="Yao-Bai, Zomi" initials="YBZ" userId="S::zyaobai@deloitte.com::2876b0d3-f051-4437-8167-749882ad7781" providerId="AD"/>
  <p188:author id="{9563B76D-1CF7-7E2F-4E47-9EF63EAE3B1E}" name="De Vitis, Alessia" initials="DVA" userId="S::adevitis@deloitte.com::8f7699a0-fd4d-453b-a59b-f248f7ccfb52" providerId="AD"/>
  <p188:author id="{7607D4F9-C0BF-21AD-E896-0868BC1F1162}" name="Baker, Jasmine" initials="BJ" userId="S::jasbaker@deloitte.com::425697b9-9624-4691-b693-7802b0a0471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A9A"/>
    <a:srgbClr val="666666"/>
    <a:srgbClr val="F7F7F7"/>
    <a:srgbClr val="E5F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603" autoAdjust="0"/>
    <p:restoredTop sz="86475" autoAdjust="0"/>
  </p:normalViewPr>
  <p:slideViewPr>
    <p:cSldViewPr snapToGrid="0">
      <p:cViewPr varScale="1">
        <p:scale>
          <a:sx n="54" d="100"/>
          <a:sy n="54" d="100"/>
        </p:scale>
        <p:origin x="400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81A6425-22D2-4BD0-A620-A59423C30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D902A-26FB-40F3-B0AD-AC4AA95EE2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4E786-9203-4CDB-9E73-7A3DDD768B82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FE8158-3B9C-49F5-A76C-B57D51D8A6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F18100-5FE0-41C2-8972-6BB490CE86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0D0A52-8C50-43C1-AE5C-2E35C191AD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0686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1B613E-B2BE-4E69-AB08-131B001518A6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AF2C44-6A5B-4D16-8168-B95263495C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068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No need to rebalance the entire dataset after building the model – Disadvantages of Smote / Resampling techniqu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Weighted Loss Function or Class Weight – To give the failing minority class a higher cost – May Slightly underperform compared to rebalancing data, only theoreticall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Accuracy use on imbalance data – Very high but bias your perception of best performer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Goal – Optimize performance – Find a balance that works best in produ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Observe and Interpret performance results – XGBoost , F1-Score (Recall + Precision), Confusion Matrix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257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Boosting: is an ensemble technique to combine weak learners to create a strong learner that can make accurate prediction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XGBoost (Extreme Gradient Boosting) is an advanced and more efficient implementation of Gradient Boosting Algorithm. It is 10 times faster than the normal Gradient Boosting as it implements parallel processing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XG Boost is a very powerful algorithm but given lots and lots of data, even XG Boost takes a long time to train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/>
              <a:t>Correctly identifying 111 of them as fraudulent Missing 9 fraudulent transactions At the cost of incorrectly flagging 25 legitimate transaction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365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01EE57E-4C1B-4ECF-94C5-14A453751E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848B10DB-7BA0-47A6-A2BF-E43FDE3253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690FCB5-02B0-42C1-A71D-2F5ABCA25F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358223E3-2772-41EC-BDC5-F0327F14B2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0E75CE7-1268-47E9-A585-16E350CB09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BF8B8A80-FD9A-43B9-A936-A0BE1CAD8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5DA18E48-2689-422E-A84C-ECB5B61A0D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D9316E24-7A8A-4FCF-B2C4-4EE40E3BA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76354CE9-D577-46E8-886D-1BBB079BE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2232419E-4011-4B15-A744-7F8FCDD1F5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2F957E66-C402-4A51-A806-6052AEAFC8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767822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EC93E963-CFD3-43A9-AE1B-F08B522B4130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791BE9BD-85F6-497E-A8D6-CBFF87927B15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538D13-8CB9-4EE1-BCA9-24557BC4F2B2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6640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08E5BA7E-93C2-43A2-9267-44AEA65B95C5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015C4658-A753-4EFC-B4C9-8CC1413F742B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C3538D-DEF3-427C-A22B-D6DED4B4F939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81640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42B478C9-B5DA-40CF-85B5-B8255333DF59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13465439-7954-4F6D-A5BA-2445764B064C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993EBE-E0B6-4868-AEFF-D7DAD2DDC7E4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146956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D9D178A5-CCC4-4A46-8C47-9A140D4A5CA1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70B3F7DA-818B-4D8B-B857-2D625878F36E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06B75E-593B-4DBE-A922-1C55C945A5EC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14753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8A445E98-0101-4641-B761-F6EC62A4C1F9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E6546D8-000E-40B0-BE69-23BCCEC818E9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761B44-F344-440B-8939-9E878C81D0CA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05705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2730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7421879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2072881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D879EE2-D803-4CB2-AF00-F24E09224D1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D45CA835-378D-4289-9657-CD3C1D6143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3810899-A11C-413B-8CBC-D3CFBE3CD8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104677E-C9A9-43FD-9636-282AA4967C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3CAB285-FAC0-4F34-8146-267CBA1B5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6082ED9-88C5-4736-942C-C7E3CCCA1B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E1E6C516-6C1B-4A02-BB05-4F831D78EC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DA6EFC15-17CF-407E-9776-DF518801D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32EBC75-0AB2-4438-90A3-70694DE0F4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FC22A38A-F53A-4006-98CB-F2CD2E2761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69265903-DE87-4699-A08F-FA3C1B52FB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7188981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2613466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8672012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17441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9357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083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355591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271" y="2125011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569253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05599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26702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1468" y="6121016"/>
            <a:ext cx="11277600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hart Placeholder 3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15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188506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0768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5451A9-3E6A-4737-92D0-C9DAA534DA04}"/>
              </a:ext>
            </a:extLst>
          </p:cNvPr>
          <p:cNvCxnSpPr/>
          <p:nvPr userDrawn="1"/>
        </p:nvCxnSpPr>
        <p:spPr>
          <a:xfrm flipV="1">
            <a:off x="0" y="0"/>
            <a:ext cx="12192000" cy="6858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2ADDA35-0590-4771-9879-88CE0238551F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3FD17B1A-A918-439D-AFAD-ECE9421735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79359716-9ACF-4041-A7F0-2E04E36D86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EE3C6AB2-FF26-4D74-983F-E8C9540B70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600C838-AB18-404F-AF64-5BE6309AC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37EF79B8-3321-4A68-A438-F7CA9AB20D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9EB266B0-2723-40E9-BD24-9B88F11371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90C5C28F-BB95-44AD-9700-55D9AE2BE2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42500885-66FF-4752-A3E1-7C0FA9778A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165DB8AE-A24F-4086-963B-1C7F379D21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282083A4-2C11-43E4-9516-9622E1E74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606917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3575554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2964138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019819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43041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7601147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 userDrawn="1"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 userDrawn="1"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 userDrawn="1"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22165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634712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Code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 userDrawn="1"/>
        </p:nvSpPr>
        <p:spPr>
          <a:xfrm>
            <a:off x="6335184" y="6477002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 userDrawn="1"/>
        </p:nvSpPr>
        <p:spPr>
          <a:xfrm>
            <a:off x="501649" y="647700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</a:t>
            </a:r>
            <a:r>
              <a:rPr lang="en-US" sz="675" noProof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gt; Slide Master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451283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23600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FFF62A-78AC-4176-888C-7369D55740C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77EF0A-6F9B-4CB4-BDFE-54901AC3BD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FBCB662-4DCB-4701-B5DB-617E9625AC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3AA8F7EF-0FC0-4792-B4E2-516188FAAD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80810E-179A-4B4D-992C-DB02F3F2AA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31CFAC2-92E1-42CB-BB66-BD91AB6DB5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C92D323-CA87-4BD4-9F33-9346A18A67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31146A3-7248-4F9C-8242-2B343E0BCE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4BFA0610-A333-4B16-A20C-3ADB78A32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D81528E3-7AAB-4FE3-96EB-0CA354538C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7C686C02-5833-4DB0-8AD3-1E143B411A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3935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B9DDECB-90E6-4132-BCD8-24EBC3764D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4289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68220B9-53D3-434F-999D-90F07DAA2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8B229135-140E-4C82-9088-DB80D93F74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B69BD4-36A4-4DB1-B5FD-89FB06A52E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9F4DC4F-9DBA-44B7-B892-0083CA8892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67D5F0A5-5E6C-4963-9090-4DAF5F01D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22C7545E-5780-4586-9808-699BCCFD7C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489CD93F-3551-40B6-A00B-6CC2A8F5F4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B6557C16-D6D6-4B71-81E6-ADCF6CEB1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E187CACC-821A-4265-91F5-84823A98F3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31AAFBBA-1DE2-4D95-9B71-B343B10650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D7679E8F-E1FF-41C4-93DF-F6A97D92D1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41" name="Title 1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773909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B860FC-9229-466C-B67B-E6B79E07BB2B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77D509D-A74E-4D79-8C41-28EE208771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C851991-483D-4A9F-8C5F-626DE9D5C1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8FEC250-9F3B-45BC-90AF-4CDE000C2C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8494B23-9F67-4108-8FC3-E645BD138A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198EEDBF-F835-40E6-A1D3-AAADC96DD0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2C9A861-6332-4ADC-88F7-183765B2D7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93BFC01-C985-4400-9F59-CA3E701AB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4A67BA7C-21CB-474A-9E6A-BCA082851A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15ADC0C-A127-4E52-A974-5D4D91506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71ADF477-53BF-4770-AA08-07332CAF6A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6020622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754932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1814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39A514A-409D-470C-AE9C-EFB16BDA8C83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5EC33-1574-4E3A-89DA-3EC00A69C870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7649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53152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04AF6108-47E9-489A-A28A-88A6C754FB38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8980A458-ABD9-40B8-8C0D-269072CDB94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1386E3-7822-4155-91DC-3E38D96ED6CE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876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84F29FA-0A46-4792-A45E-5DE1B223E09B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12BDD3ED-029E-4AC9-80CA-D3A2FBE9A5A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895299-9295-492F-8C31-9744F3FB7A06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32870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87643410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6C9DC419-ACF7-46EA-911E-B0A9D00B67CC}"/>
              </a:ext>
            </a:extLst>
          </p:cNvPr>
          <p:cNvSpPr>
            <a:spLocks/>
          </p:cNvSpPr>
          <p:nvPr userDrawn="1"/>
        </p:nvSpPr>
        <p:spPr bwMode="auto">
          <a:xfrm>
            <a:off x="457200" y="6590451"/>
            <a:ext cx="41806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1000">
                <a:solidFill>
                  <a:srgbClr val="787878">
                    <a:lumMod val="60000"/>
                    <a:lumOff val="40000"/>
                  </a:srgb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pPr/>
              <a:t>‹#›</a:t>
            </a:fld>
            <a:r>
              <a:rPr lang="en-US" sz="1000">
                <a:solidFill>
                  <a:srgbClr val="787878">
                    <a:lumMod val="60000"/>
                    <a:lumOff val="40000"/>
                  </a:srgb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Copyright © 2021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094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2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DELIVERY METHODOLOGY &amp; OUTCOMES</a:t>
            </a:r>
          </a:p>
        </p:txBody>
      </p:sp>
      <p:sp>
        <p:nvSpPr>
          <p:cNvPr id="77" name="Text Placeholder 1">
            <a:extLst>
              <a:ext uri="{FF2B5EF4-FFF2-40B4-BE49-F238E27FC236}">
                <a16:creationId xmlns:a16="http://schemas.microsoft.com/office/drawing/2014/main" id="{FC226FBD-C6D7-4B47-A1C0-594F911CFB5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82940"/>
            <a:ext cx="11277600" cy="472109"/>
          </a:xfrm>
        </p:spPr>
        <p:txBody>
          <a:bodyPr/>
          <a:lstStyle/>
          <a:p>
            <a:pPr>
              <a:spcAft>
                <a:spcPts val="3000"/>
              </a:spcAft>
              <a:defRPr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31754C-5DE8-7F16-4CCB-6BFE82707E87}"/>
              </a:ext>
            </a:extLst>
          </p:cNvPr>
          <p:cNvSpPr txBox="1"/>
          <p:nvPr/>
        </p:nvSpPr>
        <p:spPr>
          <a:xfrm>
            <a:off x="8602611" y="3905329"/>
            <a:ext cx="2448232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dirty="0">
                <a:solidFill>
                  <a:schemeClr val="bg1"/>
                </a:solidFill>
              </a:rPr>
              <a:t>Conduct cost benefit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US" sz="1400" dirty="0">
                <a:solidFill>
                  <a:schemeClr val="bg1"/>
                </a:solidFill>
              </a:rPr>
              <a:t>analysis related to false positives/negativ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68FBC01-DB25-0A44-C188-043827F9759D}"/>
              </a:ext>
            </a:extLst>
          </p:cNvPr>
          <p:cNvSpPr/>
          <p:nvPr/>
        </p:nvSpPr>
        <p:spPr bwMode="gray">
          <a:xfrm>
            <a:off x="9517115" y="3205956"/>
            <a:ext cx="822960" cy="82296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59F029B-5380-4543-F5C7-DAD7485A7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042" y="1817024"/>
            <a:ext cx="857183" cy="84869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2F1EC89-BB9E-233D-D56B-92C02A506E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5336" y="1831959"/>
            <a:ext cx="857182" cy="83986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65BD89C-1126-62C9-556E-261FCFDCF9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7382" y="1841241"/>
            <a:ext cx="857182" cy="84069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A20D0387-29F7-DA60-9AA0-F36B757501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05635" y="1774376"/>
            <a:ext cx="822960" cy="881149"/>
          </a:xfrm>
          <a:prstGeom prst="rect">
            <a:avLst/>
          </a:prstGeom>
        </p:spPr>
      </p:pic>
      <p:sp>
        <p:nvSpPr>
          <p:cNvPr id="49" name="Minus Sign 48">
            <a:extLst>
              <a:ext uri="{FF2B5EF4-FFF2-40B4-BE49-F238E27FC236}">
                <a16:creationId xmlns:a16="http://schemas.microsoft.com/office/drawing/2014/main" id="{42299F50-5033-C01A-F9FA-4804FEDC96A4}"/>
              </a:ext>
            </a:extLst>
          </p:cNvPr>
          <p:cNvSpPr/>
          <p:nvPr/>
        </p:nvSpPr>
        <p:spPr bwMode="gray">
          <a:xfrm>
            <a:off x="-1641631" y="1483203"/>
            <a:ext cx="15268072" cy="207057"/>
          </a:xfrm>
          <a:prstGeom prst="mathMinus">
            <a:avLst/>
          </a:prstGeom>
          <a:solidFill>
            <a:srgbClr val="0097A9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5FE79F3-1B3C-EF5A-FED4-FE61FE8F345B}"/>
              </a:ext>
            </a:extLst>
          </p:cNvPr>
          <p:cNvSpPr txBox="1"/>
          <p:nvPr/>
        </p:nvSpPr>
        <p:spPr>
          <a:xfrm>
            <a:off x="463295" y="680091"/>
            <a:ext cx="1028090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more complex approach to handling imbalanc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6EB0B09-DD87-B6A7-27B8-C8A425A8B917}"/>
              </a:ext>
            </a:extLst>
          </p:cNvPr>
          <p:cNvSpPr txBox="1"/>
          <p:nvPr/>
        </p:nvSpPr>
        <p:spPr>
          <a:xfrm>
            <a:off x="463295" y="1249036"/>
            <a:ext cx="27732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Services + Solution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A676DFD-6441-1B01-0793-5BC6C3BA7AAC}"/>
              </a:ext>
            </a:extLst>
          </p:cNvPr>
          <p:cNvSpPr txBox="1"/>
          <p:nvPr/>
        </p:nvSpPr>
        <p:spPr>
          <a:xfrm>
            <a:off x="1230324" y="1812003"/>
            <a:ext cx="187302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b="1" dirty="0">
                <a:solidFill>
                  <a:srgbClr val="313131"/>
                </a:solidFill>
              </a:rPr>
              <a:t>Class Weight or Loss Function Application</a:t>
            </a:r>
            <a:endParaRPr lang="en-US" dirty="0">
              <a:solidFill>
                <a:srgbClr val="31313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3F6B83C-9443-7663-0F14-1C34F91BF26D}"/>
              </a:ext>
            </a:extLst>
          </p:cNvPr>
          <p:cNvSpPr txBox="1"/>
          <p:nvPr/>
        </p:nvSpPr>
        <p:spPr>
          <a:xfrm>
            <a:off x="4133029" y="1799571"/>
            <a:ext cx="162426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b="1" dirty="0">
                <a:solidFill>
                  <a:srgbClr val="313131"/>
                </a:solidFill>
              </a:rPr>
              <a:t>Performance Metrics Selection</a:t>
            </a:r>
            <a:endParaRPr lang="en-US" dirty="0">
              <a:solidFill>
                <a:srgbClr val="31313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62AE70A-0AC2-E734-5469-CB4ACD7E8BD9}"/>
              </a:ext>
            </a:extLst>
          </p:cNvPr>
          <p:cNvSpPr txBox="1"/>
          <p:nvPr/>
        </p:nvSpPr>
        <p:spPr>
          <a:xfrm>
            <a:off x="6954265" y="1804272"/>
            <a:ext cx="204588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b="1" dirty="0">
                <a:solidFill>
                  <a:srgbClr val="313131"/>
                </a:solidFill>
              </a:rPr>
              <a:t>Goal in Metric Selection</a:t>
            </a:r>
            <a:endParaRPr lang="en-US" dirty="0">
              <a:solidFill>
                <a:srgbClr val="31313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ADBE089-3C7D-0337-C11E-3B6388197A6A}"/>
              </a:ext>
            </a:extLst>
          </p:cNvPr>
          <p:cNvSpPr txBox="1"/>
          <p:nvPr/>
        </p:nvSpPr>
        <p:spPr>
          <a:xfrm>
            <a:off x="9928595" y="1816019"/>
            <a:ext cx="209349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b="1" dirty="0">
                <a:solidFill>
                  <a:srgbClr val="313131"/>
                </a:solidFill>
              </a:rPr>
              <a:t>Models Performance Evaluation</a:t>
            </a:r>
            <a:endParaRPr lang="en-US" dirty="0">
              <a:solidFill>
                <a:srgbClr val="313131"/>
              </a:solidFill>
            </a:endParaRPr>
          </a:p>
        </p:txBody>
      </p:sp>
      <p:sp>
        <p:nvSpPr>
          <p:cNvPr id="56" name="Minus Sign 55">
            <a:extLst>
              <a:ext uri="{FF2B5EF4-FFF2-40B4-BE49-F238E27FC236}">
                <a16:creationId xmlns:a16="http://schemas.microsoft.com/office/drawing/2014/main" id="{4D79E1D3-7752-33C8-BC18-F44CBF0C454D}"/>
              </a:ext>
            </a:extLst>
          </p:cNvPr>
          <p:cNvSpPr/>
          <p:nvPr/>
        </p:nvSpPr>
        <p:spPr bwMode="gray">
          <a:xfrm>
            <a:off x="-1641631" y="2958242"/>
            <a:ext cx="15268072" cy="207057"/>
          </a:xfrm>
          <a:prstGeom prst="mathMinus">
            <a:avLst/>
          </a:prstGeom>
          <a:solidFill>
            <a:srgbClr val="0097A9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ctiv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41E8659-374E-E639-952F-07564A392614}"/>
              </a:ext>
            </a:extLst>
          </p:cNvPr>
          <p:cNvSpPr txBox="1"/>
          <p:nvPr/>
        </p:nvSpPr>
        <p:spPr>
          <a:xfrm>
            <a:off x="366652" y="3185197"/>
            <a:ext cx="2612318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ADVISE</a:t>
            </a:r>
          </a:p>
          <a:p>
            <a:pPr>
              <a:spcBef>
                <a:spcPts val="600"/>
              </a:spcBef>
              <a:buSzPct val="100000"/>
            </a:pPr>
            <a:endParaRPr lang="en-US" b="1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313131"/>
                </a:solidFill>
              </a:rPr>
              <a:t>Reprocessing the entire transactions after building the model? 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313131"/>
                </a:solidFill>
              </a:rPr>
              <a:t>Class Weight or Loss Function to increase the cost of the failing minority class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1313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0C8BD1F-AE27-31F5-27FA-965BA807F29F}"/>
              </a:ext>
            </a:extLst>
          </p:cNvPr>
          <p:cNvSpPr txBox="1"/>
          <p:nvPr/>
        </p:nvSpPr>
        <p:spPr>
          <a:xfrm>
            <a:off x="3344522" y="3205956"/>
            <a:ext cx="2048299" cy="2523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REVIEW</a:t>
            </a:r>
          </a:p>
          <a:p>
            <a:pPr>
              <a:spcBef>
                <a:spcPts val="600"/>
              </a:spcBef>
              <a:buSzPct val="100000"/>
            </a:pPr>
            <a:endParaRPr lang="en-US" b="1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313131"/>
                </a:solidFill>
              </a:rPr>
              <a:t>Forget the Accuracy Metric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313131"/>
                </a:solidFill>
              </a:rPr>
              <a:t>Classification Report &amp; Confusion Matrix 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B45A7A7-65CB-02F1-2C5B-912DD91366E8}"/>
              </a:ext>
            </a:extLst>
          </p:cNvPr>
          <p:cNvSpPr txBox="1"/>
          <p:nvPr/>
        </p:nvSpPr>
        <p:spPr>
          <a:xfrm>
            <a:off x="6391208" y="3220356"/>
            <a:ext cx="2582249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OPERATE</a:t>
            </a:r>
          </a:p>
          <a:p>
            <a:pPr>
              <a:spcBef>
                <a:spcPts val="600"/>
              </a:spcBef>
              <a:buSzPct val="100000"/>
            </a:pPr>
            <a:endParaRPr lang="en-US" b="1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313131"/>
                </a:solidFill>
              </a:rPr>
              <a:t>Optimize Performance on the imbalance production</a:t>
            </a:r>
          </a:p>
          <a:p>
            <a:pPr>
              <a:spcBef>
                <a:spcPts val="600"/>
              </a:spcBef>
              <a:buSzPct val="100000"/>
            </a:pPr>
            <a:endParaRPr lang="en-US" b="1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313131"/>
                </a:solidFill>
              </a:rPr>
              <a:t>Recall &amp; Precision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313131"/>
                </a:solidFill>
              </a:rPr>
              <a:t>Confusion Matrix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A5E39E9-A4D7-C48F-3178-9EBD9820BF9E}"/>
              </a:ext>
            </a:extLst>
          </p:cNvPr>
          <p:cNvSpPr txBox="1"/>
          <p:nvPr/>
        </p:nvSpPr>
        <p:spPr>
          <a:xfrm>
            <a:off x="9222574" y="3201998"/>
            <a:ext cx="2247355" cy="2800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EVALUATE</a:t>
            </a:r>
          </a:p>
          <a:p>
            <a:pPr>
              <a:spcBef>
                <a:spcPts val="600"/>
              </a:spcBef>
              <a:buSzPct val="100000"/>
            </a:pPr>
            <a:endParaRPr lang="en-US" b="1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313131"/>
                </a:solidFill>
              </a:rPr>
              <a:t>Result-driven Decision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313131"/>
                </a:solidFill>
              </a:rPr>
              <a:t>Classifiers results: ANNs, XGBoost, Random Forest, Decision Tre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0851EB5-580A-1504-4BB1-359D73263B63}"/>
              </a:ext>
            </a:extLst>
          </p:cNvPr>
          <p:cNvCxnSpPr>
            <a:cxnSpLocks/>
          </p:cNvCxnSpPr>
          <p:nvPr/>
        </p:nvCxnSpPr>
        <p:spPr>
          <a:xfrm>
            <a:off x="9098015" y="3258677"/>
            <a:ext cx="0" cy="317360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7FCB6C6-DA12-97AF-0B16-4E5B7D438A68}"/>
              </a:ext>
            </a:extLst>
          </p:cNvPr>
          <p:cNvCxnSpPr>
            <a:cxnSpLocks/>
          </p:cNvCxnSpPr>
          <p:nvPr/>
        </p:nvCxnSpPr>
        <p:spPr>
          <a:xfrm>
            <a:off x="6103620" y="3205956"/>
            <a:ext cx="0" cy="317360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7597A1C-858D-DC48-EF43-1A05690C6606}"/>
              </a:ext>
            </a:extLst>
          </p:cNvPr>
          <p:cNvCxnSpPr>
            <a:cxnSpLocks/>
          </p:cNvCxnSpPr>
          <p:nvPr/>
        </p:nvCxnSpPr>
        <p:spPr>
          <a:xfrm>
            <a:off x="3103352" y="3165299"/>
            <a:ext cx="0" cy="317360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184032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8254FBE8-93F2-FFDC-5779-7000F3F07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695" y="228599"/>
            <a:ext cx="5673951" cy="502103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DE943D4-4A9C-74EC-FFF6-DE722E18ACE0}"/>
              </a:ext>
            </a:extLst>
          </p:cNvPr>
          <p:cNvSpPr txBox="1"/>
          <p:nvPr/>
        </p:nvSpPr>
        <p:spPr>
          <a:xfrm>
            <a:off x="1436371" y="5474817"/>
            <a:ext cx="33832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Best Performer – XGBoost Mod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7A87C8-D7B1-C1BE-C067-2BE18786B562}"/>
              </a:ext>
            </a:extLst>
          </p:cNvPr>
          <p:cNvSpPr txBox="1"/>
          <p:nvPr/>
        </p:nvSpPr>
        <p:spPr>
          <a:xfrm>
            <a:off x="7372350" y="228599"/>
            <a:ext cx="4584955" cy="9079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XGBoost</a:t>
            </a:r>
            <a:r>
              <a:rPr lang="en-US" dirty="0">
                <a:solidFill>
                  <a:srgbClr val="242424"/>
                </a:solidFill>
                <a:latin typeface="source-serif-pro"/>
              </a:rPr>
              <a:t>: </a:t>
            </a: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Classification model used for imbalanced data.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Ø"/>
            </a:pPr>
            <a:endParaRPr lang="en-US" dirty="0">
              <a:solidFill>
                <a:srgbClr val="31313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F764D1E-2E57-E6B1-E816-FC19EAC61C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2350" y="830840"/>
            <a:ext cx="4041011" cy="259816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7F3D427-920F-0B2C-DBE9-8214E7DAA3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57299" y="3737497"/>
            <a:ext cx="4171265" cy="25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41487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0E83B36FFC724A9240E225B54317A1" ma:contentTypeVersion="6" ma:contentTypeDescription="Create a new document." ma:contentTypeScope="" ma:versionID="a9097638c85feb605e6d56d231e7d47d">
  <xsd:schema xmlns:xsd="http://www.w3.org/2001/XMLSchema" xmlns:xs="http://www.w3.org/2001/XMLSchema" xmlns:p="http://schemas.microsoft.com/office/2006/metadata/properties" xmlns:ns2="5fe53077-5474-4d70-80a5-960a32d6b237" xmlns:ns3="1195e36b-a585-409f-b7ea-8dd1a8062117" targetNamespace="http://schemas.microsoft.com/office/2006/metadata/properties" ma:root="true" ma:fieldsID="4093aa8c7afb372978cfb34af6f1cc51" ns2:_="" ns3:_="">
    <xsd:import namespace="5fe53077-5474-4d70-80a5-960a32d6b237"/>
    <xsd:import namespace="1195e36b-a585-409f-b7ea-8dd1a80621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e53077-5474-4d70-80a5-960a32d6b2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95e36b-a585-409f-b7ea-8dd1a806211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5FA351D-654D-4639-8392-EF18666D1F2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B8099A-388D-4C20-8D49-C35DD4A9866A}">
  <ds:schemaRefs>
    <ds:schemaRef ds:uri="1195e36b-a585-409f-b7ea-8dd1a8062117"/>
    <ds:schemaRef ds:uri="5fe53077-5474-4d70-80a5-960a32d6b2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34137AA-C138-4542-9729-312DDC3BEE2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893</TotalTime>
  <Words>308</Words>
  <Application>Microsoft Office PowerPoint</Application>
  <PresentationFormat>Widescreen</PresentationFormat>
  <Paragraphs>4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Calibri</vt:lpstr>
      <vt:lpstr>Calibri Light</vt:lpstr>
      <vt:lpstr>Open Sans</vt:lpstr>
      <vt:lpstr>source-serif-pro</vt:lpstr>
      <vt:lpstr>Verdana</vt:lpstr>
      <vt:lpstr>Wingdings</vt:lpstr>
      <vt:lpstr>Wingdings 2</vt:lpstr>
      <vt:lpstr>Deloitte Brand Theme</vt:lpstr>
      <vt:lpstr>think-cell Slide</vt:lpstr>
      <vt:lpstr>DELIVERY METHODOLOGY &amp; OUTCOM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CM Transition Playbook</dc:title>
  <dc:creator>Daughtry, Tami</dc:creator>
  <cp:lastModifiedBy>Yao-Bai, Zomi</cp:lastModifiedBy>
  <cp:revision>71</cp:revision>
  <dcterms:created xsi:type="dcterms:W3CDTF">2021-11-23T13:40:48Z</dcterms:created>
  <dcterms:modified xsi:type="dcterms:W3CDTF">2023-08-09T09:3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11-23T13:40:4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f7f931ad-42af-4a83-a009-cafd0bac5c1a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5E0E83B36FFC724A9240E225B54317A1</vt:lpwstr>
  </property>
</Properties>
</file>